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2145706749" r:id="rId2"/>
    <p:sldId id="2145706822" r:id="rId3"/>
    <p:sldId id="2145706823" r:id="rId4"/>
    <p:sldId id="2145706820" r:id="rId5"/>
    <p:sldId id="2145706827" r:id="rId6"/>
    <p:sldId id="2145706826" r:id="rId7"/>
    <p:sldId id="2145706828" r:id="rId8"/>
    <p:sldId id="2145706829" r:id="rId9"/>
    <p:sldId id="2145706830" r:id="rId10"/>
  </p:sldIdLst>
  <p:sldSz cx="9144000" cy="5159375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90" userDrawn="1">
          <p15:clr>
            <a:srgbClr val="A4A3A4"/>
          </p15:clr>
        </p15:guide>
        <p15:guide id="2" pos="3744" userDrawn="1">
          <p15:clr>
            <a:srgbClr val="A4A3A4"/>
          </p15:clr>
        </p15:guide>
        <p15:guide id="3" pos="340" userDrawn="1">
          <p15:clr>
            <a:srgbClr val="A4A3A4"/>
          </p15:clr>
        </p15:guide>
        <p15:guide id="4" pos="5420" userDrawn="1">
          <p15:clr>
            <a:srgbClr val="A4A3A4"/>
          </p15:clr>
        </p15:guide>
        <p15:guide id="5" orient="horz" pos="455" userDrawn="1">
          <p15:clr>
            <a:srgbClr val="A4A3A4"/>
          </p15:clr>
        </p15:guide>
        <p15:guide id="6" orient="horz" pos="3031" userDrawn="1">
          <p15:clr>
            <a:srgbClr val="A4A3A4"/>
          </p15:clr>
        </p15:guide>
        <p15:guide id="7" orient="horz" pos="453" userDrawn="1">
          <p15:clr>
            <a:srgbClr val="A4A3A4"/>
          </p15:clr>
        </p15:guide>
        <p15:guide id="8" pos="50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C1A9626-8F10-AE0C-0E61-BBB5FC529DCC}" name="Helen Hughes" initials="HH" userId="S::Helen@patientsafetylearning.onmicrosoft.com::78348cad-89c3-43eb-8782-99c0cb24e1f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8B00"/>
    <a:srgbClr val="FFC000"/>
    <a:srgbClr val="BFBFBF"/>
    <a:srgbClr val="808080"/>
    <a:srgbClr val="000000"/>
    <a:srgbClr val="BFECE1"/>
    <a:srgbClr val="80D8C4"/>
    <a:srgbClr val="00B189"/>
    <a:srgbClr val="FFFFFF"/>
    <a:srgbClr val="333E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777776-E620-49ED-938F-AB41690A7C65}" v="391" dt="2024-07-04T17:49:57.4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46" autoAdjust="0"/>
    <p:restoredTop sz="96247" autoAdjust="0"/>
  </p:normalViewPr>
  <p:slideViewPr>
    <p:cSldViewPr snapToGrid="0" snapToObjects="1">
      <p:cViewPr varScale="1">
        <p:scale>
          <a:sx n="116" d="100"/>
          <a:sy n="116" d="100"/>
        </p:scale>
        <p:origin x="120" y="426"/>
      </p:cViewPr>
      <p:guideLst>
        <p:guide orient="horz" pos="1890"/>
        <p:guide pos="3744"/>
        <p:guide pos="340"/>
        <p:guide pos="5420"/>
        <p:guide orient="horz" pos="455"/>
        <p:guide orient="horz" pos="3031"/>
        <p:guide orient="horz" pos="453"/>
        <p:guide pos="50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85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customXml" Target="../customXml/item1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Relationship Id="rId22" Type="http://schemas.openxmlformats.org/officeDocument/2006/relationships/customXml" Target="../customXml/item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ive Flashman" userId="e7b4e0fea739474b" providerId="LiveId" clId="{81777776-E620-49ED-938F-AB41690A7C65}"/>
    <pc:docChg chg="undo custSel addSld delSld modSld sldOrd">
      <pc:chgData name="Clive Flashman" userId="e7b4e0fea739474b" providerId="LiveId" clId="{81777776-E620-49ED-938F-AB41690A7C65}" dt="2024-07-04T17:49:57.443" v="827"/>
      <pc:docMkLst>
        <pc:docMk/>
      </pc:docMkLst>
      <pc:sldChg chg="addSp modSp mod">
        <pc:chgData name="Clive Flashman" userId="e7b4e0fea739474b" providerId="LiveId" clId="{81777776-E620-49ED-938F-AB41690A7C65}" dt="2024-07-04T15:58:15.122" v="787" actId="20577"/>
        <pc:sldMkLst>
          <pc:docMk/>
          <pc:sldMk cId="414458250" sldId="2145706749"/>
        </pc:sldMkLst>
        <pc:spChg chg="mod">
          <ac:chgData name="Clive Flashman" userId="e7b4e0fea739474b" providerId="LiveId" clId="{81777776-E620-49ED-938F-AB41690A7C65}" dt="2024-07-04T15:58:15.122" v="787" actId="20577"/>
          <ac:spMkLst>
            <pc:docMk/>
            <pc:sldMk cId="414458250" sldId="2145706749"/>
            <ac:spMk id="7" creationId="{00000000-0000-0000-0000-000000000000}"/>
          </ac:spMkLst>
        </pc:spChg>
        <pc:spChg chg="mod">
          <ac:chgData name="Clive Flashman" userId="e7b4e0fea739474b" providerId="LiveId" clId="{81777776-E620-49ED-938F-AB41690A7C65}" dt="2024-07-04T15:11:36.062" v="91" actId="255"/>
          <ac:spMkLst>
            <pc:docMk/>
            <pc:sldMk cId="414458250" sldId="2145706749"/>
            <ac:spMk id="8" creationId="{00000000-0000-0000-0000-000000000000}"/>
          </ac:spMkLst>
        </pc:spChg>
        <pc:picChg chg="add mod">
          <ac:chgData name="Clive Flashman" userId="e7b4e0fea739474b" providerId="LiveId" clId="{81777776-E620-49ED-938F-AB41690A7C65}" dt="2024-07-04T15:11:01.293" v="73" actId="14100"/>
          <ac:picMkLst>
            <pc:docMk/>
            <pc:sldMk cId="414458250" sldId="2145706749"/>
            <ac:picMk id="2" creationId="{777DDCC7-6194-3EAE-92E7-4E108D5281B9}"/>
          </ac:picMkLst>
        </pc:picChg>
      </pc:sldChg>
      <pc:sldChg chg="addSp delSp modSp mod modAnim modNotesTx">
        <pc:chgData name="Clive Flashman" userId="e7b4e0fea739474b" providerId="LiveId" clId="{81777776-E620-49ED-938F-AB41690A7C65}" dt="2024-07-04T15:59:01.380" v="789"/>
        <pc:sldMkLst>
          <pc:docMk/>
          <pc:sldMk cId="2891183832" sldId="2145706820"/>
        </pc:sldMkLst>
        <pc:spChg chg="mod">
          <ac:chgData name="Clive Flashman" userId="e7b4e0fea739474b" providerId="LiveId" clId="{81777776-E620-49ED-938F-AB41690A7C65}" dt="2024-07-04T15:25:24.162" v="118" actId="14100"/>
          <ac:spMkLst>
            <pc:docMk/>
            <pc:sldMk cId="2891183832" sldId="2145706820"/>
            <ac:spMk id="3" creationId="{CBB857CC-16CE-D568-F21B-F64D522ABD81}"/>
          </ac:spMkLst>
        </pc:spChg>
        <pc:spChg chg="add mod">
          <ac:chgData name="Clive Flashman" userId="e7b4e0fea739474b" providerId="LiveId" clId="{81777776-E620-49ED-938F-AB41690A7C65}" dt="2024-07-04T15:25:13.932" v="116" actId="14100"/>
          <ac:spMkLst>
            <pc:docMk/>
            <pc:sldMk cId="2891183832" sldId="2145706820"/>
            <ac:spMk id="5" creationId="{8FCB7F3F-89C7-D689-1074-14D18F3D29A9}"/>
          </ac:spMkLst>
        </pc:spChg>
        <pc:spChg chg="add mod">
          <ac:chgData name="Clive Flashman" userId="e7b4e0fea739474b" providerId="LiveId" clId="{81777776-E620-49ED-938F-AB41690A7C65}" dt="2024-07-04T15:26:34.833" v="126" actId="1076"/>
          <ac:spMkLst>
            <pc:docMk/>
            <pc:sldMk cId="2891183832" sldId="2145706820"/>
            <ac:spMk id="7" creationId="{02AA82A9-36FA-355B-3345-1D9AD916942F}"/>
          </ac:spMkLst>
        </pc:spChg>
        <pc:spChg chg="add mod">
          <ac:chgData name="Clive Flashman" userId="e7b4e0fea739474b" providerId="LiveId" clId="{81777776-E620-49ED-938F-AB41690A7C65}" dt="2024-07-04T15:30:15.367" v="128" actId="1076"/>
          <ac:spMkLst>
            <pc:docMk/>
            <pc:sldMk cId="2891183832" sldId="2145706820"/>
            <ac:spMk id="9" creationId="{97E959D0-BCFD-1F55-5E14-A0519CAB6ADE}"/>
          </ac:spMkLst>
        </pc:spChg>
        <pc:spChg chg="add mod">
          <ac:chgData name="Clive Flashman" userId="e7b4e0fea739474b" providerId="LiveId" clId="{81777776-E620-49ED-938F-AB41690A7C65}" dt="2024-07-04T15:32:27.438" v="199" actId="14100"/>
          <ac:spMkLst>
            <pc:docMk/>
            <pc:sldMk cId="2891183832" sldId="2145706820"/>
            <ac:spMk id="12" creationId="{06115A6E-4881-E59E-9060-D0D4340A085B}"/>
          </ac:spMkLst>
        </pc:spChg>
        <pc:spChg chg="add mod">
          <ac:chgData name="Clive Flashman" userId="e7b4e0fea739474b" providerId="LiveId" clId="{81777776-E620-49ED-938F-AB41690A7C65}" dt="2024-07-04T15:33:03.575" v="202" actId="1076"/>
          <ac:spMkLst>
            <pc:docMk/>
            <pc:sldMk cId="2891183832" sldId="2145706820"/>
            <ac:spMk id="16" creationId="{E012D93F-856F-B643-F81F-39B37B92288C}"/>
          </ac:spMkLst>
        </pc:spChg>
        <pc:spChg chg="add mod">
          <ac:chgData name="Clive Flashman" userId="e7b4e0fea739474b" providerId="LiveId" clId="{81777776-E620-49ED-938F-AB41690A7C65}" dt="2024-07-04T15:33:09.005" v="204"/>
          <ac:spMkLst>
            <pc:docMk/>
            <pc:sldMk cId="2891183832" sldId="2145706820"/>
            <ac:spMk id="19" creationId="{D210EBC8-883C-B283-1431-04F0D8DE8FF7}"/>
          </ac:spMkLst>
        </pc:spChg>
        <pc:picChg chg="add mod">
          <ac:chgData name="Clive Flashman" userId="e7b4e0fea739474b" providerId="LiveId" clId="{81777776-E620-49ED-938F-AB41690A7C65}" dt="2024-07-04T15:30:15.367" v="128" actId="1076"/>
          <ac:picMkLst>
            <pc:docMk/>
            <pc:sldMk cId="2891183832" sldId="2145706820"/>
            <ac:picMk id="8" creationId="{7B81FB29-270B-DBB2-114B-2DBE6976DCAF}"/>
          </ac:picMkLst>
        </pc:picChg>
        <pc:picChg chg="mod modCrop">
          <ac:chgData name="Clive Flashman" userId="e7b4e0fea739474b" providerId="LiveId" clId="{81777776-E620-49ED-938F-AB41690A7C65}" dt="2024-07-04T15:24:09.313" v="114" actId="732"/>
          <ac:picMkLst>
            <pc:docMk/>
            <pc:sldMk cId="2891183832" sldId="2145706820"/>
            <ac:picMk id="11" creationId="{A30707B9-A9D9-FAAC-CB5C-FBD5BE341FD0}"/>
          </ac:picMkLst>
        </pc:picChg>
        <pc:picChg chg="mod modCrop">
          <ac:chgData name="Clive Flashman" userId="e7b4e0fea739474b" providerId="LiveId" clId="{81777776-E620-49ED-938F-AB41690A7C65}" dt="2024-07-04T15:24:18.615" v="115" actId="732"/>
          <ac:picMkLst>
            <pc:docMk/>
            <pc:sldMk cId="2891183832" sldId="2145706820"/>
            <ac:picMk id="13" creationId="{0F6C2B4B-CC99-5C39-5959-38568172DE6F}"/>
          </ac:picMkLst>
        </pc:picChg>
        <pc:picChg chg="add mod">
          <ac:chgData name="Clive Flashman" userId="e7b4e0fea739474b" providerId="LiveId" clId="{81777776-E620-49ED-938F-AB41690A7C65}" dt="2024-07-04T15:33:03.575" v="202" actId="1076"/>
          <ac:picMkLst>
            <pc:docMk/>
            <pc:sldMk cId="2891183832" sldId="2145706820"/>
            <ac:picMk id="14" creationId="{7D3F0D5C-8BCD-0258-8975-26C6ED5E1E27}"/>
          </ac:picMkLst>
        </pc:picChg>
        <pc:picChg chg="mod ord modCrop">
          <ac:chgData name="Clive Flashman" userId="e7b4e0fea739474b" providerId="LiveId" clId="{81777776-E620-49ED-938F-AB41690A7C65}" dt="2024-07-04T15:23:59.881" v="113" actId="732"/>
          <ac:picMkLst>
            <pc:docMk/>
            <pc:sldMk cId="2891183832" sldId="2145706820"/>
            <ac:picMk id="15" creationId="{014A3272-EA4C-F539-D4AC-68C248BD822F}"/>
          </ac:picMkLst>
        </pc:picChg>
        <pc:picChg chg="del">
          <ac:chgData name="Clive Flashman" userId="e7b4e0fea739474b" providerId="LiveId" clId="{81777776-E620-49ED-938F-AB41690A7C65}" dt="2024-07-04T15:14:03.503" v="95" actId="478"/>
          <ac:picMkLst>
            <pc:docMk/>
            <pc:sldMk cId="2891183832" sldId="2145706820"/>
            <ac:picMk id="17" creationId="{831C6ED9-8637-5531-BD4F-BB5C8E5A3E5A}"/>
          </ac:picMkLst>
        </pc:picChg>
        <pc:picChg chg="add mod">
          <ac:chgData name="Clive Flashman" userId="e7b4e0fea739474b" providerId="LiveId" clId="{81777776-E620-49ED-938F-AB41690A7C65}" dt="2024-07-04T15:33:09.005" v="204"/>
          <ac:picMkLst>
            <pc:docMk/>
            <pc:sldMk cId="2891183832" sldId="2145706820"/>
            <ac:picMk id="18" creationId="{72D9D777-7BC0-83A5-2B65-04C053A3C5D9}"/>
          </ac:picMkLst>
        </pc:picChg>
      </pc:sldChg>
      <pc:sldChg chg="del">
        <pc:chgData name="Clive Flashman" userId="e7b4e0fea739474b" providerId="LiveId" clId="{81777776-E620-49ED-938F-AB41690A7C65}" dt="2024-07-04T15:23:18.363" v="110" actId="47"/>
        <pc:sldMkLst>
          <pc:docMk/>
          <pc:sldMk cId="3205863191" sldId="2145706821"/>
        </pc:sldMkLst>
      </pc:sldChg>
      <pc:sldChg chg="add del ord">
        <pc:chgData name="Clive Flashman" userId="e7b4e0fea739474b" providerId="LiveId" clId="{81777776-E620-49ED-938F-AB41690A7C65}" dt="2024-07-04T15:41:20.714" v="366"/>
        <pc:sldMkLst>
          <pc:docMk/>
          <pc:sldMk cId="2245422247" sldId="2145706822"/>
        </pc:sldMkLst>
      </pc:sldChg>
      <pc:sldChg chg="modSp mod ord modAnim">
        <pc:chgData name="Clive Flashman" userId="e7b4e0fea739474b" providerId="LiveId" clId="{81777776-E620-49ED-938F-AB41690A7C65}" dt="2024-07-04T17:42:47.045" v="793"/>
        <pc:sldMkLst>
          <pc:docMk/>
          <pc:sldMk cId="3075500786" sldId="2145706823"/>
        </pc:sldMkLst>
        <pc:spChg chg="mod">
          <ac:chgData name="Clive Flashman" userId="e7b4e0fea739474b" providerId="LiveId" clId="{81777776-E620-49ED-938F-AB41690A7C65}" dt="2024-07-04T15:40:53.430" v="362" actId="20577"/>
          <ac:spMkLst>
            <pc:docMk/>
            <pc:sldMk cId="3075500786" sldId="2145706823"/>
            <ac:spMk id="5" creationId="{5F05564B-7378-B12F-A50A-875E4B60DE26}"/>
          </ac:spMkLst>
        </pc:spChg>
      </pc:sldChg>
      <pc:sldChg chg="modSp del mod">
        <pc:chgData name="Clive Flashman" userId="e7b4e0fea739474b" providerId="LiveId" clId="{81777776-E620-49ED-938F-AB41690A7C65}" dt="2024-07-04T15:34:37.084" v="357" actId="47"/>
        <pc:sldMkLst>
          <pc:docMk/>
          <pc:sldMk cId="2702741931" sldId="2145706825"/>
        </pc:sldMkLst>
        <pc:spChg chg="mod">
          <ac:chgData name="Clive Flashman" userId="e7b4e0fea739474b" providerId="LiveId" clId="{81777776-E620-49ED-938F-AB41690A7C65}" dt="2024-07-04T15:26:04.741" v="120"/>
          <ac:spMkLst>
            <pc:docMk/>
            <pc:sldMk cId="2702741931" sldId="2145706825"/>
            <ac:spMk id="5" creationId="{5F05564B-7378-B12F-A50A-875E4B60DE26}"/>
          </ac:spMkLst>
        </pc:spChg>
      </pc:sldChg>
      <pc:sldChg chg="modSp ord modAnim">
        <pc:chgData name="Clive Flashman" userId="e7b4e0fea739474b" providerId="LiveId" clId="{81777776-E620-49ED-938F-AB41690A7C65}" dt="2024-07-04T17:45:25.250" v="802" actId="207"/>
        <pc:sldMkLst>
          <pc:docMk/>
          <pc:sldMk cId="1364202161" sldId="2145706827"/>
        </pc:sldMkLst>
        <pc:spChg chg="mod">
          <ac:chgData name="Clive Flashman" userId="e7b4e0fea739474b" providerId="LiveId" clId="{81777776-E620-49ED-938F-AB41690A7C65}" dt="2024-07-04T17:45:25.250" v="802" actId="207"/>
          <ac:spMkLst>
            <pc:docMk/>
            <pc:sldMk cId="1364202161" sldId="2145706827"/>
            <ac:spMk id="5" creationId="{5F05564B-7378-B12F-A50A-875E4B60DE26}"/>
          </ac:spMkLst>
        </pc:spChg>
      </pc:sldChg>
      <pc:sldChg chg="modSp add mod modAnim">
        <pc:chgData name="Clive Flashman" userId="e7b4e0fea739474b" providerId="LiveId" clId="{81777776-E620-49ED-938F-AB41690A7C65}" dt="2024-07-04T17:49:57.443" v="827"/>
        <pc:sldMkLst>
          <pc:docMk/>
          <pc:sldMk cId="2904336522" sldId="2145706829"/>
        </pc:sldMkLst>
        <pc:spChg chg="mod">
          <ac:chgData name="Clive Flashman" userId="e7b4e0fea739474b" providerId="LiveId" clId="{81777776-E620-49ED-938F-AB41690A7C65}" dt="2024-07-04T15:53:55.904" v="428" actId="20577"/>
          <ac:spMkLst>
            <pc:docMk/>
            <pc:sldMk cId="2904336522" sldId="2145706829"/>
            <ac:spMk id="3" creationId="{CBB857CC-16CE-D568-F21B-F64D522ABD81}"/>
          </ac:spMkLst>
        </pc:spChg>
        <pc:spChg chg="mod">
          <ac:chgData name="Clive Flashman" userId="e7b4e0fea739474b" providerId="LiveId" clId="{81777776-E620-49ED-938F-AB41690A7C65}" dt="2024-07-04T15:57:40.263" v="783" actId="20577"/>
          <ac:spMkLst>
            <pc:docMk/>
            <pc:sldMk cId="2904336522" sldId="2145706829"/>
            <ac:spMk id="5" creationId="{5F05564B-7378-B12F-A50A-875E4B60DE26}"/>
          </ac:spMkLst>
        </pc:spChg>
      </pc:sldChg>
      <pc:sldChg chg="add">
        <pc:chgData name="Clive Flashman" userId="e7b4e0fea739474b" providerId="LiveId" clId="{81777776-E620-49ED-938F-AB41690A7C65}" dt="2024-07-04T17:38:58.433" v="792"/>
        <pc:sldMkLst>
          <pc:docMk/>
          <pc:sldMk cId="914830079" sldId="214570683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9C82C-BCC8-4128-A077-B40F87BD52B2}" type="datetimeFigureOut">
              <a:rPr lang="en-GB" smtClean="0"/>
              <a:t>04/07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E410F-158F-436D-83E7-5F241D5961B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12551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29D7F5-F81A-4F31-847B-41187E25A170}" type="datetimeFigureOut">
              <a:rPr lang="en-GB" smtClean="0"/>
              <a:t>04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3738" y="1143000"/>
            <a:ext cx="54705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ACD49B-E18D-4425-B1D2-F2FB01A1B4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14957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D&amp;D – a human factors issue.</a:t>
            </a:r>
          </a:p>
          <a:p>
            <a:r>
              <a:rPr lang="en-GB" dirty="0"/>
              <a:t>Moved from traditional RAG rating to symbols that did not indicate acuity unless clicked on.</a:t>
            </a:r>
          </a:p>
          <a:p>
            <a:r>
              <a:rPr lang="en-GB" dirty="0"/>
              <a:t>No longer ‘at a glance’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ACD49B-E18D-4425-B1D2-F2FB01A1B45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3082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ACD49B-E18D-4425-B1D2-F2FB01A1B45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46693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37718" y="3279722"/>
            <a:ext cx="4320000" cy="503659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itchFamily="34" charset="0"/>
              <a:buNone/>
              <a:defRPr lang="en-US" sz="1100" kern="1200" spc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2400"/>
            </a:lvl2pPr>
            <a:lvl3pPr>
              <a:buNone/>
              <a:defRPr sz="2400"/>
            </a:lvl3pPr>
            <a:lvl4pPr>
              <a:buNone/>
              <a:defRPr sz="2400"/>
            </a:lvl4pPr>
            <a:lvl5pPr>
              <a:buNone/>
              <a:defRPr sz="2400"/>
            </a:lvl5pPr>
          </a:lstStyle>
          <a:p>
            <a:pPr lvl="0"/>
            <a:r>
              <a:rPr lang="en-US" dirty="0"/>
              <a:t>Click to edit speaker / date / etc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6622677" y="5651"/>
            <a:ext cx="2521324" cy="514807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823" y="2002089"/>
            <a:ext cx="1481331" cy="11551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818" y="1047783"/>
            <a:ext cx="4320000" cy="1332839"/>
          </a:xfrm>
        </p:spPr>
        <p:txBody>
          <a:bodyPr anchor="b" anchorCtr="0">
            <a:normAutofit/>
          </a:bodyPr>
          <a:lstStyle>
            <a:lvl1pPr>
              <a:defRPr sz="27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7718" y="2423159"/>
            <a:ext cx="4320000" cy="734124"/>
          </a:xfrm>
        </p:spPr>
        <p:txBody>
          <a:bodyPr tIns="0" bIns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  <a:endParaRPr lang="en-GB" dirty="0"/>
          </a:p>
        </p:txBody>
      </p:sp>
    </p:spTree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625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351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540000" y="1200150"/>
            <a:ext cx="7523998" cy="3251199"/>
          </a:xfrm>
          <a:solidFill>
            <a:schemeClr val="bg1">
              <a:lumMod val="95000"/>
            </a:schemeClr>
          </a:solidFill>
        </p:spPr>
        <p:txBody>
          <a:bodyPr lIns="252000" tIns="216000" rIns="144000"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65218490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308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9"/>
          <p:cNvSpPr>
            <a:spLocks noGrp="1"/>
          </p:cNvSpPr>
          <p:nvPr>
            <p:ph sz="quarter" idx="14"/>
          </p:nvPr>
        </p:nvSpPr>
        <p:spPr>
          <a:xfrm>
            <a:off x="540000" y="1414462"/>
            <a:ext cx="3744002" cy="3036886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478661"/>
            <a:ext cx="3744000" cy="720000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4752000" y="-1"/>
            <a:ext cx="3852000" cy="5159375"/>
          </a:xfrm>
          <a:solidFill>
            <a:schemeClr val="bg1">
              <a:lumMod val="95000"/>
            </a:schemeClr>
          </a:solidFill>
        </p:spPr>
        <p:txBody>
          <a:bodyPr lIns="252000" tIns="216000" rIns="144000"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6" name="Rectangle 5"/>
          <p:cNvSpPr/>
          <p:nvPr userDrawn="1"/>
        </p:nvSpPr>
        <p:spPr>
          <a:xfrm>
            <a:off x="8604000" y="0"/>
            <a:ext cx="540000" cy="51593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326382" y="4611855"/>
            <a:ext cx="2957620" cy="191847"/>
          </a:xfrm>
        </p:spPr>
        <p:txBody>
          <a:bodyPr wrap="square"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625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8109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3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40001" y="1583872"/>
            <a:ext cx="3600200" cy="286747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chart/table/image</a:t>
            </a:r>
            <a:endParaRPr lang="en-GB" dirty="0"/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1200150"/>
            <a:ext cx="3600200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200"/>
              </a:spcBef>
              <a:buNone/>
              <a:defRPr sz="1200" b="1"/>
            </a:lvl1pPr>
            <a:lvl2pPr marL="177800" indent="-177800">
              <a:spcBef>
                <a:spcPts val="200"/>
              </a:spcBef>
              <a:defRPr sz="900"/>
            </a:lvl2pPr>
            <a:lvl3pPr marL="266700" indent="-88900">
              <a:spcBef>
                <a:spcPts val="200"/>
              </a:spcBef>
              <a:defRPr sz="900"/>
            </a:lvl3pPr>
            <a:lvl4pPr>
              <a:spcBef>
                <a:spcPts val="200"/>
              </a:spcBef>
              <a:defRPr sz="900"/>
            </a:lvl4pPr>
            <a:lvl5pPr marL="177800" indent="-177800">
              <a:spcBef>
                <a:spcPts val="200"/>
              </a:spcBef>
              <a:defRPr sz="900"/>
            </a:lvl5pPr>
          </a:lstStyle>
          <a:p>
            <a:pPr lvl="0"/>
            <a:r>
              <a:rPr lang="en-US" dirty="0"/>
              <a:t>Graph heading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24"/>
          </p:nvPr>
        </p:nvSpPr>
        <p:spPr>
          <a:xfrm>
            <a:off x="4463798" y="1200149"/>
            <a:ext cx="3600200" cy="3251199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/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445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540000" y="1200279"/>
            <a:ext cx="3600000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200"/>
              </a:spcBef>
              <a:buNone/>
              <a:defRPr sz="1200" b="1"/>
            </a:lvl1pPr>
            <a:lvl2pPr marL="177800" indent="-177800">
              <a:spcBef>
                <a:spcPts val="200"/>
              </a:spcBef>
              <a:defRPr sz="900"/>
            </a:lvl2pPr>
            <a:lvl3pPr marL="266700" indent="-88900">
              <a:spcBef>
                <a:spcPts val="200"/>
              </a:spcBef>
              <a:defRPr sz="900"/>
            </a:lvl3pPr>
            <a:lvl4pPr>
              <a:spcBef>
                <a:spcPts val="200"/>
              </a:spcBef>
              <a:defRPr sz="900"/>
            </a:lvl4pPr>
            <a:lvl5pPr marL="177800" indent="-177800">
              <a:spcBef>
                <a:spcPts val="200"/>
              </a:spcBef>
              <a:defRPr sz="900"/>
            </a:lvl5pPr>
          </a:lstStyle>
          <a:p>
            <a:pPr lvl="0"/>
            <a:r>
              <a:rPr lang="en-US" dirty="0"/>
              <a:t>Content heading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25" hasCustomPrompt="1"/>
          </p:nvPr>
        </p:nvSpPr>
        <p:spPr>
          <a:xfrm>
            <a:off x="4463999" y="1200279"/>
            <a:ext cx="3600000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200"/>
              </a:spcBef>
              <a:buNone/>
              <a:defRPr sz="1200" b="1"/>
            </a:lvl1pPr>
            <a:lvl2pPr marL="177800" indent="-177800">
              <a:spcBef>
                <a:spcPts val="200"/>
              </a:spcBef>
              <a:defRPr sz="900"/>
            </a:lvl2pPr>
            <a:lvl3pPr marL="266700" indent="-88900">
              <a:spcBef>
                <a:spcPts val="200"/>
              </a:spcBef>
              <a:defRPr sz="900"/>
            </a:lvl3pPr>
            <a:lvl4pPr>
              <a:spcBef>
                <a:spcPts val="200"/>
              </a:spcBef>
              <a:defRPr sz="900"/>
            </a:lvl4pPr>
            <a:lvl5pPr marL="177800" indent="-177800">
              <a:spcBef>
                <a:spcPts val="200"/>
              </a:spcBef>
              <a:defRPr sz="900"/>
            </a:lvl5pPr>
          </a:lstStyle>
          <a:p>
            <a:pPr lvl="0"/>
            <a:r>
              <a:rPr lang="en-US" dirty="0"/>
              <a:t>Content heading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40001" y="1583872"/>
            <a:ext cx="3600200" cy="286747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chart/table/image</a:t>
            </a:r>
            <a:endParaRPr lang="en-GB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26" hasCustomPrompt="1"/>
          </p:nvPr>
        </p:nvSpPr>
        <p:spPr>
          <a:xfrm>
            <a:off x="4463799" y="1583872"/>
            <a:ext cx="3600200" cy="286747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nsert chart/table/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668624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48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-1"/>
            <a:ext cx="9144000" cy="5159376"/>
          </a:xfrm>
          <a:solidFill>
            <a:schemeClr val="bg1">
              <a:lumMod val="85000"/>
            </a:schemeClr>
          </a:solidFill>
        </p:spPr>
        <p:txBody>
          <a:bodyPr lIns="252000" tIns="216000" rIns="144000">
            <a:norm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en-GB" dirty="0"/>
          </a:p>
        </p:txBody>
      </p:sp>
      <p:sp>
        <p:nvSpPr>
          <p:cNvPr id="5" name="Title 3"/>
          <p:cNvSpPr>
            <a:spLocks noGrp="1"/>
          </p:cNvSpPr>
          <p:nvPr>
            <p:ph type="title" hasCustomPrompt="1"/>
          </p:nvPr>
        </p:nvSpPr>
        <p:spPr>
          <a:xfrm>
            <a:off x="547962" y="382828"/>
            <a:ext cx="5490888" cy="1230072"/>
          </a:xfrm>
        </p:spPr>
        <p:txBody>
          <a:bodyPr vert="horz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ull page image</a:t>
            </a:r>
            <a:br>
              <a:rPr lang="en-GB" dirty="0"/>
            </a:br>
            <a:r>
              <a:rPr lang="en-GB" dirty="0"/>
              <a:t>click to add headlin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322743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580" y="1757680"/>
            <a:ext cx="5507272" cy="1608371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6622676" y="5651"/>
            <a:ext cx="2521324" cy="514807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5823" y="2002089"/>
            <a:ext cx="1481331" cy="1155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748688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4822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540000" y="1200150"/>
            <a:ext cx="7523998" cy="3251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625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5420" userDrawn="1">
          <p15:clr>
            <a:srgbClr val="FBAE40"/>
          </p15:clr>
        </p15:guide>
        <p15:guide id="6" orient="horz" pos="45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Divide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7977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540000" y="1200150"/>
            <a:ext cx="7523998" cy="32512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018802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625">
          <p15:clr>
            <a:srgbClr val="FBAE40"/>
          </p15:clr>
        </p15:guide>
        <p15:guide id="2" pos="2880">
          <p15:clr>
            <a:srgbClr val="FBAE40"/>
          </p15:clr>
        </p15:guide>
        <p15:guide id="3" pos="5420">
          <p15:clr>
            <a:srgbClr val="FBAE40"/>
          </p15:clr>
        </p15:guide>
        <p15:guide id="6" orient="horz" pos="45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928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19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540000" y="1200149"/>
            <a:ext cx="3600200" cy="3251199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3"/>
          </p:nvPr>
        </p:nvSpPr>
        <p:spPr>
          <a:xfrm>
            <a:off x="4463798" y="1200149"/>
            <a:ext cx="3600200" cy="3251199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%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083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4464050" y="1200150"/>
            <a:ext cx="3599948" cy="3251199"/>
          </a:xfrm>
          <a:solidFill>
            <a:schemeClr val="bg1">
              <a:lumMod val="95000"/>
            </a:schemeClr>
          </a:solidFill>
        </p:spPr>
        <p:txBody>
          <a:bodyPr lIns="252000" tIns="216000" rIns="144000"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540000" y="1200149"/>
            <a:ext cx="3600200" cy="3251199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57694844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% Content / 30%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564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5562600" y="1200150"/>
            <a:ext cx="2501398" cy="3251199"/>
          </a:xfrm>
          <a:solidFill>
            <a:schemeClr val="bg1">
              <a:lumMod val="95000"/>
            </a:schemeClr>
          </a:solidFill>
        </p:spPr>
        <p:txBody>
          <a:bodyPr lIns="252000" tIns="216000" rIns="144000"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540000" y="1200150"/>
            <a:ext cx="4781300" cy="3251198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72468833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% Content / 30%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8393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9"/>
          <p:cNvSpPr>
            <a:spLocks noGrp="1"/>
          </p:cNvSpPr>
          <p:nvPr>
            <p:ph sz="quarter" idx="14"/>
          </p:nvPr>
        </p:nvSpPr>
        <p:spPr>
          <a:xfrm>
            <a:off x="540000" y="1200150"/>
            <a:ext cx="4781300" cy="3251198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5"/>
          </p:nvPr>
        </p:nvSpPr>
        <p:spPr>
          <a:xfrm>
            <a:off x="5562600" y="1200150"/>
            <a:ext cx="2505074" cy="3251198"/>
          </a:xfrm>
        </p:spPr>
        <p:txBody>
          <a:bodyPr>
            <a:norm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69408861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ot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324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540000" y="2330450"/>
            <a:ext cx="7523998" cy="2120899"/>
          </a:xfrm>
          <a:solidFill>
            <a:schemeClr val="bg1">
              <a:lumMod val="95000"/>
            </a:schemeClr>
          </a:solidFill>
        </p:spPr>
        <p:txBody>
          <a:bodyPr lIns="252000" tIns="216000" rIns="144000"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326382" y="4611855"/>
            <a:ext cx="6737616" cy="191847"/>
          </a:xfrm>
        </p:spPr>
        <p:txBody>
          <a:bodyPr tIns="0" bIns="0">
            <a:spAutoFit/>
          </a:bodyPr>
          <a:lstStyle>
            <a:lvl1pPr marL="90488" indent="-904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600"/>
            </a:lvl1pPr>
            <a:lvl2pPr marL="0" indent="0">
              <a:lnSpc>
                <a:spcPct val="90000"/>
              </a:lnSpc>
              <a:spcBef>
                <a:spcPts val="200"/>
              </a:spcBef>
              <a:buNone/>
              <a:defRPr sz="600" b="0" i="1"/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539999" y="1200150"/>
            <a:ext cx="7527675" cy="1022350"/>
          </a:xfrm>
        </p:spPr>
        <p:txBody>
          <a:bodyPr>
            <a:noAutofit/>
          </a:bodyPr>
          <a:lstStyle>
            <a:lvl1pPr marL="177800" indent="-177800">
              <a:defRPr sz="1600"/>
            </a:lvl1pPr>
            <a:lvl2pPr marL="361950" indent="-184150">
              <a:defRPr sz="14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177800" indent="-177800"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90144412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69685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6" imgH="415" progId="TCLayout.ActiveDocument.1">
                  <p:embed/>
                </p:oleObj>
              </mc:Choice>
              <mc:Fallback>
                <p:oleObj name="think-cell Slide" r:id="rId18" imgW="416" imgH="41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00" y="1203448"/>
            <a:ext cx="7523998" cy="324790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GB" dirty="0"/>
              <a:t>Level 1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0"/>
            <a:r>
              <a:rPr lang="en-GB" dirty="0"/>
              <a:t>Level 1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000" y="478661"/>
            <a:ext cx="7523998" cy="66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9" name="Rectangle 28"/>
          <p:cNvSpPr/>
          <p:nvPr/>
        </p:nvSpPr>
        <p:spPr>
          <a:xfrm>
            <a:off x="8604000" y="0"/>
            <a:ext cx="540000" cy="51593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17268" y="4706492"/>
            <a:ext cx="222579" cy="104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06C1CE95-9739-4B6C-A220-F07EDEE2EC2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B816358-C779-144D-955C-DCEC9EA0DBDA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40000" y="4599431"/>
            <a:ext cx="471963" cy="3719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93" r:id="rId3"/>
    <p:sldLayoutId id="2147483663" r:id="rId4"/>
    <p:sldLayoutId id="2147483664" r:id="rId5"/>
    <p:sldLayoutId id="2147483688" r:id="rId6"/>
    <p:sldLayoutId id="2147483691" r:id="rId7"/>
    <p:sldLayoutId id="2147483692" r:id="rId8"/>
    <p:sldLayoutId id="2147483689" r:id="rId9"/>
    <p:sldLayoutId id="2147483690" r:id="rId10"/>
    <p:sldLayoutId id="2147483667" r:id="rId11"/>
    <p:sldLayoutId id="2147483665" r:id="rId12"/>
    <p:sldLayoutId id="2147483687" r:id="rId13"/>
    <p:sldLayoutId id="2147483685" r:id="rId14"/>
    <p:sldLayoutId id="2147483686" r:id="rId15"/>
  </p:sldLayoutIdLst>
  <p:transition spd="slow"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95300" indent="-225425" algn="l" defTabSz="914400" rtl="0" eaLnBrk="1" latinLnBrk="0" hangingPunct="1">
        <a:spcBef>
          <a:spcPts val="600"/>
        </a:spcBef>
        <a:buClr>
          <a:schemeClr val="accent1"/>
        </a:buClr>
        <a:buSzPct val="100000"/>
        <a:buFont typeface="Arial" panose="020B0604020202020204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28650" indent="-138113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93750" indent="-157163" algn="l" defTabSz="914400" rtl="0" eaLnBrk="1" latinLnBrk="0" hangingPunct="1">
        <a:spcBef>
          <a:spcPts val="400"/>
        </a:spcBef>
        <a:buClr>
          <a:schemeClr val="accent1"/>
        </a:buClr>
        <a:buFont typeface="Arial" panose="020B0604020202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66700" indent="-266700" algn="l" defTabSz="914400" rtl="0" eaLnBrk="1" latinLnBrk="0" hangingPunct="1">
        <a:spcBef>
          <a:spcPts val="600"/>
        </a:spcBef>
        <a:buClr>
          <a:schemeClr val="accent1"/>
        </a:buClr>
        <a:buSzPct val="100000"/>
        <a:buFont typeface="+mj-lt"/>
        <a:buAutoNum type="arabicPeriod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341" userDrawn="1">
          <p15:clr>
            <a:srgbClr val="F26B43"/>
          </p15:clr>
        </p15:guide>
        <p15:guide id="4" pos="5419" userDrawn="1">
          <p15:clr>
            <a:srgbClr val="F26B43"/>
          </p15:clr>
        </p15:guide>
        <p15:guide id="5" orient="horz" pos="3031" userDrawn="1">
          <p15:clr>
            <a:srgbClr val="F26B43"/>
          </p15:clr>
        </p15:guide>
        <p15:guide id="8" orient="horz" pos="491" userDrawn="1">
          <p15:clr>
            <a:srgbClr val="F26B43"/>
          </p15:clr>
        </p15:guide>
        <p15:guide id="10" pos="5082" userDrawn="1">
          <p15:clr>
            <a:srgbClr val="F26B43"/>
          </p15:clr>
        </p15:guide>
        <p15:guide id="11" orient="horz" pos="756" userDrawn="1">
          <p15:clr>
            <a:srgbClr val="F26B43"/>
          </p15:clr>
        </p15:guide>
        <p15:guide id="12" pos="2812" userDrawn="1">
          <p15:clr>
            <a:srgbClr val="F26B43"/>
          </p15:clr>
        </p15:guide>
        <p15:guide id="13" pos="2608" userDrawn="1">
          <p15:clr>
            <a:srgbClr val="F26B43"/>
          </p15:clr>
        </p15:guide>
        <p15:guide id="14" orient="horz" pos="28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ngland.nhs.uk/wp-content/uploads/2023/12/NaPSA-Euroking-maternity-information-system-7-Dec-2023-FINAL.pdf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hssib.org.uk/news-events-blog/electronic-patient-record-systems-recurring-themes-arising-from-safety-investigations/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8041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5" progId="TCLayout.ActiveDocument.1">
                  <p:embed/>
                </p:oleObj>
              </mc:Choice>
              <mc:Fallback>
                <p:oleObj name="think-cell Slide" r:id="rId3" imgW="416" imgH="415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 b="1" dirty="0"/>
              <a:t>Clive Flashman</a:t>
            </a:r>
          </a:p>
          <a:p>
            <a:endParaRPr lang="en-US" dirty="0"/>
          </a:p>
          <a:p>
            <a:r>
              <a:rPr lang="en-US" dirty="0"/>
              <a:t>July 2024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trouble with EPRs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Patient Safety implications of recent EPR implementation problem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7DDCC7-6194-3EAE-92E7-4E108D5281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6" y="3177"/>
            <a:ext cx="1873037" cy="111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5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676C5A-B549-75ED-0C1C-52C41922E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B857CC-16CE-D568-F21B-F64D522AB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5396265" cy="381951"/>
          </a:xfrm>
        </p:spPr>
        <p:txBody>
          <a:bodyPr/>
          <a:lstStyle/>
          <a:p>
            <a:r>
              <a:rPr lang="en-GB" dirty="0"/>
              <a:t>The unwelcome Christmas message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F05564B-7378-B12F-A50A-875E4B60DE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894841"/>
            <a:ext cx="7523998" cy="3637053"/>
          </a:xfrm>
        </p:spPr>
        <p:txBody>
          <a:bodyPr>
            <a:normAutofit/>
          </a:bodyPr>
          <a:lstStyle/>
          <a:p>
            <a:pPr algn="l"/>
            <a:r>
              <a:rPr lang="en-GB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Just before Christmas last year, NHS E issued a patient safety </a:t>
            </a:r>
            <a:r>
              <a:rPr lang="en-GB" dirty="0">
                <a:solidFill>
                  <a:srgbClr val="00B0F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rt</a:t>
            </a:r>
            <a:r>
              <a:rPr lang="en-GB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said that the Magenta (Maternity EPR) from a company called </a:t>
            </a:r>
            <a:r>
              <a:rPr lang="en-GB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king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was </a:t>
            </a:r>
            <a:r>
              <a:rPr lang="en-GB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writing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ld patient data, with the new entries.</a:t>
            </a:r>
          </a:p>
          <a:p>
            <a:pPr algn="l"/>
            <a:r>
              <a:rPr lang="en-GB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t advised the 15 Trusts involved to:</a:t>
            </a:r>
          </a:p>
          <a:p>
            <a:pPr marL="612775" lvl="1" indent="-342900">
              <a:buFont typeface="+mj-lt"/>
              <a:buAutoNum type="arabicPeriod"/>
            </a:pPr>
            <a:r>
              <a:rPr lang="en-US" dirty="0"/>
              <a:t>“..consider if </a:t>
            </a:r>
            <a:r>
              <a:rPr lang="en-US" dirty="0" err="1"/>
              <a:t>Euroking</a:t>
            </a:r>
            <a:r>
              <a:rPr lang="en-US" dirty="0"/>
              <a:t> meets their maternity service’s needs and ensure that their local configuration is safe.”</a:t>
            </a:r>
          </a:p>
          <a:p>
            <a:pPr marL="612775" lvl="1" indent="-342900">
              <a:buFont typeface="+mj-lt"/>
              <a:buAutoNum type="arabicPeriod"/>
            </a:pPr>
            <a:r>
              <a:rPr lang="en-US" dirty="0"/>
              <a:t>“..must review and ensure that each data field within the system does not copy forward or backward”</a:t>
            </a:r>
          </a:p>
          <a:p>
            <a:pPr marL="612775" lvl="1" indent="-342900">
              <a:buFont typeface="+mj-lt"/>
              <a:buAutoNum type="arabicPeriod"/>
            </a:pPr>
            <a:r>
              <a:rPr lang="en-US" dirty="0"/>
              <a:t>Back up all clinical information if a new system is purchased</a:t>
            </a:r>
          </a:p>
          <a:p>
            <a:pPr marL="612775" lvl="1" indent="-342900">
              <a:buFont typeface="+mj-lt"/>
              <a:buAutoNum type="arabicPeriod"/>
            </a:pPr>
            <a:r>
              <a:rPr lang="en-US" dirty="0"/>
              <a:t>Ensure users of a legacy </a:t>
            </a:r>
            <a:r>
              <a:rPr lang="en-US" dirty="0" err="1"/>
              <a:t>Euroking</a:t>
            </a:r>
            <a:r>
              <a:rPr lang="en-US" dirty="0"/>
              <a:t> system see the issues in this alert</a:t>
            </a:r>
          </a:p>
          <a:p>
            <a:pPr marL="612775" lvl="1" indent="-342900">
              <a:buFont typeface="+mj-lt"/>
              <a:buAutoNum type="arabicPeriod"/>
            </a:pPr>
            <a:r>
              <a:rPr lang="en-US" dirty="0"/>
              <a:t>“Must reassess the clinical safety of their maternity EPR with a suitably qualified clinical safety officer”</a:t>
            </a:r>
          </a:p>
          <a:p>
            <a:pPr marL="612775" lvl="1" indent="-342900">
              <a:buFont typeface="+mj-lt"/>
              <a:buAutoNum type="arabicPeriod"/>
            </a:pPr>
            <a:r>
              <a:rPr lang="en-US" dirty="0"/>
              <a:t>Assess current EPR against </a:t>
            </a:r>
            <a:r>
              <a:rPr lang="en-GB" dirty="0"/>
              <a:t>Maternity Digital Capabilities Framework</a:t>
            </a:r>
            <a:r>
              <a:rPr lang="en-US" dirty="0"/>
              <a:t>.</a:t>
            </a:r>
          </a:p>
          <a:p>
            <a:pPr lvl="1"/>
            <a:endParaRPr lang="en-GB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42224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0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00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676C5A-B549-75ED-0C1C-52C41922E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B857CC-16CE-D568-F21B-F64D522ABD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tient Safety Learning’s response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F05564B-7378-B12F-A50A-875E4B60DE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1200149"/>
            <a:ext cx="7523998" cy="3331745"/>
          </a:xfrm>
        </p:spPr>
        <p:txBody>
          <a:bodyPr>
            <a:normAutofit/>
          </a:bodyPr>
          <a:lstStyle/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S alert was not an adequate response to the issues</a:t>
            </a:r>
          </a:p>
          <a:p>
            <a:pPr algn="l"/>
            <a:r>
              <a:rPr lang="en-GB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HS E should have worked with </a:t>
            </a:r>
            <a:r>
              <a:rPr lang="en-GB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king</a:t>
            </a:r>
            <a:r>
              <a:rPr lang="en-GB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to create a fix for all 15 Trusts</a:t>
            </a:r>
          </a:p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irst action for the Trusts should have been to download and implement the fix on a specified date.</a:t>
            </a:r>
          </a:p>
          <a:p>
            <a:pPr algn="l"/>
            <a:r>
              <a:rPr lang="en-GB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cond action – test your system after the fix has been installed. NHS E should have appendixed a test script to the alert to help Clinical Safety Officers (CSOs) to do this.</a:t>
            </a:r>
          </a:p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ok for this issue in other EPRs in use at the Trust.</a:t>
            </a:r>
          </a:p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blog gained a lot of traction on social media. NHS E wrote to us explaining how they had been working with </a:t>
            </a:r>
            <a:r>
              <a:rPr lang="en-GB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king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said that as they didn’t contract with the supplier they couldn’t do more.</a:t>
            </a:r>
            <a:endParaRPr lang="en-GB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500786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14A3272-EA4C-F539-D4AC-68C248BD82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5769"/>
          <a:stretch/>
        </p:blipFill>
        <p:spPr>
          <a:xfrm>
            <a:off x="354445" y="977471"/>
            <a:ext cx="3188008" cy="112145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676C5A-B549-75ED-0C1C-52C41922E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B857CC-16CE-D568-F21B-F64D522AB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2697653" cy="666000"/>
          </a:xfrm>
        </p:spPr>
        <p:txBody>
          <a:bodyPr/>
          <a:lstStyle/>
          <a:p>
            <a:r>
              <a:rPr lang="en-GB" dirty="0"/>
              <a:t>‘Surrey Safe Care’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30707B9-A9D9-FAAC-CB5C-FBD5BE341FD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5392"/>
          <a:stretch/>
        </p:blipFill>
        <p:spPr>
          <a:xfrm>
            <a:off x="354444" y="1449581"/>
            <a:ext cx="2984809" cy="88587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F6C2B4B-CC99-5C39-5959-38568172DE6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8201"/>
          <a:stretch/>
        </p:blipFill>
        <p:spPr>
          <a:xfrm>
            <a:off x="351268" y="1925352"/>
            <a:ext cx="2805105" cy="89857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FCB7F3F-89C7-D689-1074-14D18F3D29A9}"/>
              </a:ext>
            </a:extLst>
          </p:cNvPr>
          <p:cNvSpPr txBox="1"/>
          <p:nvPr/>
        </p:nvSpPr>
        <p:spPr>
          <a:xfrm>
            <a:off x="220133" y="2952095"/>
            <a:ext cx="347810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lessons learned review, carried out by NHSE’s frontline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isation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am identified </a:t>
            </a:r>
            <a:r>
              <a:rPr lang="en-US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areas of improvemen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2AA82A9-36FA-355B-3345-1D9AD916942F}"/>
              </a:ext>
            </a:extLst>
          </p:cNvPr>
          <p:cNvSpPr txBox="1"/>
          <p:nvPr/>
        </p:nvSpPr>
        <p:spPr>
          <a:xfrm>
            <a:off x="4836160" y="187322"/>
            <a:ext cx="352704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unty Durham and Darlington Foundation Trust </a:t>
            </a:r>
            <a:r>
              <a:rPr lang="en-US" b="0" i="0" dirty="0">
                <a:solidFill>
                  <a:srgbClr val="444444"/>
                </a:solidFill>
                <a:effectLst/>
                <a:latin typeface="Source Sans Pro" panose="020B0503030403020204" pitchFamily="34" charset="0"/>
              </a:rPr>
              <a:t>went live with Oracle Cerner’s electronic patient record in November 2022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B81FB29-270B-DBB2-114B-2DBE6976DC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06359" y="2261142"/>
            <a:ext cx="2940201" cy="5175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7E959D0-BCFD-1F55-5E14-A0519CAB6ADE}"/>
              </a:ext>
            </a:extLst>
          </p:cNvPr>
          <p:cNvSpPr txBox="1"/>
          <p:nvPr/>
        </p:nvSpPr>
        <p:spPr>
          <a:xfrm>
            <a:off x="4836160" y="1928655"/>
            <a:ext cx="24449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accent1"/>
                </a:solidFill>
              </a:rPr>
              <a:t>HSJ headline (23/02/24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6115A6E-4881-E59E-9060-D0D4340A085B}"/>
              </a:ext>
            </a:extLst>
          </p:cNvPr>
          <p:cNvSpPr txBox="1"/>
          <p:nvPr/>
        </p:nvSpPr>
        <p:spPr>
          <a:xfrm>
            <a:off x="4836160" y="2875216"/>
            <a:ext cx="367114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en-US" dirty="0">
                <a:solidFill>
                  <a:srgbClr val="444444"/>
                </a:solidFill>
              </a:rPr>
              <a:t>Another issue that clinicians there have complained about: </a:t>
            </a:r>
            <a:br>
              <a:rPr lang="en-US" dirty="0">
                <a:solidFill>
                  <a:srgbClr val="444444"/>
                </a:solidFill>
              </a:rPr>
            </a:br>
            <a:r>
              <a:rPr lang="en-US" dirty="0">
                <a:solidFill>
                  <a:srgbClr val="444444"/>
                </a:solidFill>
              </a:rPr>
              <a:t>N</a:t>
            </a:r>
            <a:r>
              <a:rPr lang="en-US" b="0" i="0" dirty="0">
                <a:solidFill>
                  <a:srgbClr val="444444"/>
                </a:solidFill>
                <a:effectLst/>
              </a:rPr>
              <a:t>o standardised way for clinicians to interact with the EPR </a:t>
            </a:r>
            <a:r>
              <a:rPr lang="en-US" b="0" i="0" dirty="0">
                <a:solidFill>
                  <a:srgbClr val="444444"/>
                </a:solidFill>
                <a:effectLst/>
                <a:sym typeface="Wingdings" panose="05000000000000000000" pitchFamily="2" charset="2"/>
              </a:rPr>
              <a:t> </a:t>
            </a:r>
            <a:r>
              <a:rPr lang="en-US" b="0" i="0" dirty="0">
                <a:solidFill>
                  <a:srgbClr val="444444"/>
                </a:solidFill>
                <a:effectLst/>
              </a:rPr>
              <a:t>deterioration in the quality of medical notes.</a:t>
            </a:r>
            <a:endParaRPr lang="en-GB" dirty="0">
              <a:solidFill>
                <a:srgbClr val="000000"/>
              </a:solidFill>
              <a:effectLst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118383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676C5A-B549-75ED-0C1C-52C41922E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B857CC-16CE-D568-F21B-F64D522AB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2809540" cy="666000"/>
          </a:xfrm>
        </p:spPr>
        <p:txBody>
          <a:bodyPr/>
          <a:lstStyle/>
          <a:p>
            <a:r>
              <a:rPr lang="en-GB" dirty="0"/>
              <a:t>Other EPR hotspots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F05564B-7378-B12F-A50A-875E4B60DE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913814"/>
            <a:ext cx="7523998" cy="3624319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imley Health NHS FT went live with Epic in June 2022. </a:t>
            </a:r>
          </a:p>
          <a:p>
            <a:pPr lvl="1"/>
            <a:r>
              <a:rPr lang="en-US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ince then, it’s had a host of data quality problems leaving  it unable to report performance against key national standards such as 78 and 52-week waits </a:t>
            </a:r>
            <a:br>
              <a:rPr lang="en-US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 diagnostic performance.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nt an extra £3.5m on “Epic-related training and implementation”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£1.8m of benefits have been achieved since go-live against an end-of-year target of £10m.</a:t>
            </a:r>
          </a:p>
          <a:p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chester University NHS FT went live with EPIC in September 2022.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ce then, the Trust’s performance against the 4 hour A&amp;E waiting time target has worsened from 63.1% in August to 51.6% in December.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same period, trolley waits surged from nine to 780.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st execs responded that “data quality issues may be contributing to the increase in the waiting list”.</a:t>
            </a:r>
          </a:p>
          <a:p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Guy’s and St </a:t>
            </a:r>
            <a:r>
              <a:rPr lang="en-US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Thomas’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and King’s College Hospital FTs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ed Oct 23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STT – immediate diagnostic delays. Dec 23, total outage when </a:t>
            </a:r>
            <a:r>
              <a:rPr lang="en-GB" dirty="0"/>
              <a:t>security certificates expired.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gs – problems in critical care unit.</a:t>
            </a:r>
          </a:p>
        </p:txBody>
      </p:sp>
    </p:spTree>
    <p:extLst>
      <p:ext uri="{BB962C8B-B14F-4D97-AF65-F5344CB8AC3E}">
        <p14:creationId xmlns:p14="http://schemas.microsoft.com/office/powerpoint/2010/main" val="13642021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676C5A-B549-75ED-0C1C-52C41922E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B857CC-16CE-D568-F21B-F64D522AB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3391431" cy="666000"/>
          </a:xfrm>
        </p:spPr>
        <p:txBody>
          <a:bodyPr/>
          <a:lstStyle/>
          <a:p>
            <a:r>
              <a:rPr lang="en-GB" dirty="0"/>
              <a:t>HSSIB blog on EPRs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F05564B-7378-B12F-A50A-875E4B60DE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1200149"/>
            <a:ext cx="7523998" cy="3331745"/>
          </a:xfrm>
        </p:spPr>
        <p:txBody>
          <a:bodyPr>
            <a:normAutofit/>
          </a:bodyPr>
          <a:lstStyle/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 </a:t>
            </a:r>
            <a:r>
              <a:rPr lang="en-GB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ctors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volved in poor EPR implementation were found to include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Interoperability – problems stemming from EPRs being unable to exchange or make use of information from other IT systems used by Trusts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Usability testing of software – EPR systems being introduced without appropriate testing of how easy or difficult healthcare professionals tasked with using these find them to operate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Standards and standardisation – EPR systems in use not incorporating human factors engineering principles in their design to ensure they are the best they can be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00000"/>
                </a:solidFill>
                <a:effectLst/>
              </a:rPr>
              <a:t>EPR systems should consider the whole patient pathway in relation to discharge from hospital and not just acute care.</a:t>
            </a:r>
          </a:p>
          <a:p>
            <a:pPr algn="l"/>
            <a:endParaRPr lang="en-GB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530837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676C5A-B549-75ED-0C1C-52C41922E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B857CC-16CE-D568-F21B-F64D522AB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8661"/>
            <a:ext cx="3010024" cy="666000"/>
          </a:xfrm>
        </p:spPr>
        <p:txBody>
          <a:bodyPr/>
          <a:lstStyle/>
          <a:p>
            <a:r>
              <a:rPr lang="en-GB" dirty="0"/>
              <a:t>Recurrent themes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F05564B-7378-B12F-A50A-875E4B60DE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1200149"/>
            <a:ext cx="7523998" cy="3331745"/>
          </a:xfrm>
        </p:spPr>
        <p:txBody>
          <a:bodyPr>
            <a:normAutofit/>
          </a:bodyPr>
          <a:lstStyle/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or data quality</a:t>
            </a:r>
          </a:p>
          <a:p>
            <a:pPr algn="l"/>
            <a:r>
              <a:rPr lang="en-GB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or coding</a:t>
            </a:r>
          </a:p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preparedness</a:t>
            </a:r>
          </a:p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ufficient training</a:t>
            </a:r>
          </a:p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lure to recognise the organisational change require (before &amp; during)</a:t>
            </a:r>
          </a:p>
          <a:p>
            <a:pPr algn="l"/>
            <a:r>
              <a:rPr lang="en-GB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SOs not part of the core team</a:t>
            </a:r>
          </a:p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ck of interoperability</a:t>
            </a:r>
          </a:p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ttle focus on useability and human factors</a:t>
            </a:r>
          </a:p>
          <a:p>
            <a:pPr algn="l"/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ufficient money from NHS E (on training, org change, etc.)</a:t>
            </a:r>
          </a:p>
          <a:p>
            <a:pPr algn="l"/>
            <a:r>
              <a:rPr lang="en-GB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’s not an IT programme, it’s a change programme</a:t>
            </a:r>
          </a:p>
          <a:p>
            <a:pPr algn="l"/>
            <a:endParaRPr lang="en-GB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690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9676C5A-B549-75ED-0C1C-52C41922E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1CE95-9739-4B6C-A220-F07EDEE2EC27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B857CC-16CE-D568-F21B-F64D522AB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478661"/>
            <a:ext cx="7976319" cy="666000"/>
          </a:xfrm>
        </p:spPr>
        <p:txBody>
          <a:bodyPr/>
          <a:lstStyle/>
          <a:p>
            <a:r>
              <a:rPr lang="en-GB" dirty="0"/>
              <a:t>Patient safety Learning’s round table event (26 June 2024)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F05564B-7378-B12F-A50A-875E4B60DE2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" y="1200149"/>
            <a:ext cx="7523998" cy="3506343"/>
          </a:xfrm>
        </p:spPr>
        <p:txBody>
          <a:bodyPr>
            <a:normAutofit fontScale="92500" lnSpcReduction="20000"/>
          </a:bodyPr>
          <a:lstStyle/>
          <a:p>
            <a:pPr marL="0" indent="0" algn="l">
              <a:buNone/>
            </a:pP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 leaders from the NHS, </a:t>
            </a:r>
            <a:r>
              <a:rPr lang="en-GB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MSS</a:t>
            </a:r>
            <a:r>
              <a:rPr lang="en-GB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K, Tech UK, and commercial vendors. Included CIOs, CCIOs, CSOs, Human Factors experts, Patient Safety experts, front-line clinicians and patients. These were the key themes that emerged:</a:t>
            </a:r>
          </a:p>
          <a:p>
            <a:pPr lvl="0"/>
            <a:r>
              <a:rPr lang="en-GB" b="1" dirty="0"/>
              <a:t>Culture</a:t>
            </a:r>
            <a:r>
              <a:rPr lang="en-GB" dirty="0"/>
              <a:t> </a:t>
            </a:r>
          </a:p>
          <a:p>
            <a:pPr lvl="0"/>
            <a:r>
              <a:rPr lang="en-GB" b="1" dirty="0"/>
              <a:t>Leadership</a:t>
            </a:r>
            <a:endParaRPr lang="en-GB" dirty="0"/>
          </a:p>
          <a:p>
            <a:pPr lvl="0"/>
            <a:r>
              <a:rPr lang="en-GB" b="1" dirty="0"/>
              <a:t>Patient engagement</a:t>
            </a:r>
            <a:r>
              <a:rPr lang="en-GB" dirty="0"/>
              <a:t> </a:t>
            </a:r>
          </a:p>
          <a:p>
            <a:pPr lvl="0"/>
            <a:r>
              <a:rPr lang="en-GB" b="1" dirty="0"/>
              <a:t>Training</a:t>
            </a:r>
            <a:r>
              <a:rPr lang="en-GB" dirty="0"/>
              <a:t> </a:t>
            </a:r>
          </a:p>
          <a:p>
            <a:pPr lvl="0"/>
            <a:r>
              <a:rPr lang="en-GB" b="1" dirty="0"/>
              <a:t>Safety in use</a:t>
            </a:r>
            <a:endParaRPr lang="en-GB" dirty="0"/>
          </a:p>
          <a:p>
            <a:pPr lvl="0"/>
            <a:r>
              <a:rPr lang="en-GB" b="1" dirty="0"/>
              <a:t>Collaboration and information sharing</a:t>
            </a:r>
            <a:r>
              <a:rPr lang="en-GB" dirty="0"/>
              <a:t> </a:t>
            </a:r>
          </a:p>
          <a:p>
            <a:pPr lvl="0"/>
            <a:r>
              <a:rPr lang="en-GB" b="1" dirty="0"/>
              <a:t>Funding</a:t>
            </a:r>
            <a:r>
              <a:rPr lang="en-GB" dirty="0"/>
              <a:t> </a:t>
            </a:r>
          </a:p>
          <a:p>
            <a:pPr lvl="0"/>
            <a:r>
              <a:rPr lang="en-GB" b="1" dirty="0"/>
              <a:t>Procurement</a:t>
            </a:r>
            <a:r>
              <a:rPr lang="en-GB" dirty="0"/>
              <a:t> </a:t>
            </a:r>
          </a:p>
          <a:p>
            <a:pPr lvl="0"/>
            <a:r>
              <a:rPr lang="en-GB" b="1" dirty="0"/>
              <a:t>Change programme – planning and implementation rigour</a:t>
            </a:r>
            <a:r>
              <a:rPr lang="en-GB" dirty="0"/>
              <a:t> </a:t>
            </a:r>
          </a:p>
          <a:p>
            <a:pPr lvl="0"/>
            <a:r>
              <a:rPr lang="en-GB" b="1" dirty="0"/>
              <a:t>Incident reporting</a:t>
            </a:r>
          </a:p>
          <a:p>
            <a:pPr lvl="0"/>
            <a:r>
              <a:rPr lang="en-GB" b="1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andards and governance</a:t>
            </a:r>
            <a:endParaRPr lang="en-GB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GB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433652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6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80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0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5" progId="TCLayout.ActiveDocument.1">
                  <p:embed/>
                </p:oleObj>
              </mc:Choice>
              <mc:Fallback>
                <p:oleObj name="think-cell Slide" r:id="rId4" imgW="416" imgH="415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 b="1" dirty="0"/>
              <a:t>Clive Flashman</a:t>
            </a:r>
          </a:p>
          <a:p>
            <a:endParaRPr lang="en-US" dirty="0"/>
          </a:p>
          <a:p>
            <a:r>
              <a:rPr lang="en-US" dirty="0"/>
              <a:t>July 2024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trouble with EPRs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he Patient Safety implications of recent EPR implementation problem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7DDCC7-6194-3EAE-92E7-4E108D5281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6" y="3177"/>
            <a:ext cx="1873037" cy="111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83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SL__2023">
  <a:themeElements>
    <a:clrScheme name="PSL">
      <a:dk1>
        <a:srgbClr val="000000"/>
      </a:dk1>
      <a:lt1>
        <a:sysClr val="window" lastClr="FFFFFF"/>
      </a:lt1>
      <a:dk2>
        <a:srgbClr val="2E3192"/>
      </a:dk2>
      <a:lt2>
        <a:srgbClr val="92278F"/>
      </a:lt2>
      <a:accent1>
        <a:srgbClr val="00B189"/>
      </a:accent1>
      <a:accent2>
        <a:srgbClr val="000000"/>
      </a:accent2>
      <a:accent3>
        <a:srgbClr val="80D8C4"/>
      </a:accent3>
      <a:accent4>
        <a:srgbClr val="808080"/>
      </a:accent4>
      <a:accent5>
        <a:srgbClr val="BFEBE1"/>
      </a:accent5>
      <a:accent6>
        <a:srgbClr val="BFBFBF"/>
      </a:accent6>
      <a:hlink>
        <a:srgbClr val="F6A01A"/>
      </a:hlink>
      <a:folHlink>
        <a:srgbClr val="9CC5C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TT_StandardsIntro" id="{0D879F4F-ADD9-4C4B-94FE-77AF761EEDD9}" vid="{28739170-4E61-6A4B-8017-14C4629A8CB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32358C74A89A419650AD017E1FAC40" ma:contentTypeVersion="21" ma:contentTypeDescription="Create a new document." ma:contentTypeScope="" ma:versionID="dd6c4204f5074b5410a9afb8b5a8e5b9">
  <xsd:schema xmlns:xsd="http://www.w3.org/2001/XMLSchema" xmlns:xs="http://www.w3.org/2001/XMLSchema" xmlns:p="http://schemas.microsoft.com/office/2006/metadata/properties" xmlns:ns1="http://schemas.microsoft.com/sharepoint/v3" xmlns:ns2="e37e8048-7f47-46c3-9f5d-bf2bf54c9279" xmlns:ns3="812061dd-523a-47bf-9db5-a71fd49c94a4" targetNamespace="http://schemas.microsoft.com/office/2006/metadata/properties" ma:root="true" ma:fieldsID="d891b9df4695bf4b034ff6e5d348055e" ns1:_="" ns2:_="" ns3:_="">
    <xsd:import namespace="http://schemas.microsoft.com/sharepoint/v3"/>
    <xsd:import namespace="e37e8048-7f47-46c3-9f5d-bf2bf54c9279"/>
    <xsd:import namespace="812061dd-523a-47bf-9db5-a71fd49c94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Pictur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7e8048-7f47-46c3-9f5d-bf2bf54c92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Picture" ma:index="21" nillable="true" ma:displayName="Picture" ma:format="Image" ma:internalName="Pictur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fe36c5f2-2d8c-4cc3-a61b-4b56d022d32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2061dd-523a-47bf-9db5-a71fd49c94a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98d9916-7899-4a6c-b68a-d60d75cd35ea}" ma:internalName="TaxCatchAll" ma:showField="CatchAllData" ma:web="812061dd-523a-47bf-9db5-a71fd49c94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A98103-9AFE-4353-9874-BB21DE12B58C}"/>
</file>

<file path=customXml/itemProps2.xml><?xml version="1.0" encoding="utf-8"?>
<ds:datastoreItem xmlns:ds="http://schemas.openxmlformats.org/officeDocument/2006/customXml" ds:itemID="{1F7D48CC-534E-4727-B154-9E7C84B289EF}"/>
</file>

<file path=docProps/app.xml><?xml version="1.0" encoding="utf-8"?>
<Properties xmlns="http://schemas.openxmlformats.org/officeDocument/2006/extended-properties" xmlns:vt="http://schemas.openxmlformats.org/officeDocument/2006/docPropsVTypes">
  <Template>PSL__2023</Template>
  <TotalTime>0</TotalTime>
  <Words>875</Words>
  <Application>Microsoft Office PowerPoint</Application>
  <PresentationFormat>Custom</PresentationFormat>
  <Paragraphs>87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Source Sans Pro</vt:lpstr>
      <vt:lpstr>Wingdings</vt:lpstr>
      <vt:lpstr>PSL__2023</vt:lpstr>
      <vt:lpstr>think-cell Slide</vt:lpstr>
      <vt:lpstr>The trouble with EPRs</vt:lpstr>
      <vt:lpstr>The unwelcome Christmas message</vt:lpstr>
      <vt:lpstr>Patient Safety Learning’s response</vt:lpstr>
      <vt:lpstr>‘Surrey Safe Care’</vt:lpstr>
      <vt:lpstr>Other EPR hotspots</vt:lpstr>
      <vt:lpstr>HSSIB blog on EPRs</vt:lpstr>
      <vt:lpstr>Recurrent themes</vt:lpstr>
      <vt:lpstr>Patient safety Learning’s round table event (26 June 2024)</vt:lpstr>
      <vt:lpstr>The trouble with EP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tient Safety Standards</dc:title>
  <dc:creator>David Rowson</dc:creator>
  <cp:lastModifiedBy>Clive Flashman</cp:lastModifiedBy>
  <cp:revision>56</cp:revision>
  <dcterms:created xsi:type="dcterms:W3CDTF">2023-05-02T09:35:40Z</dcterms:created>
  <dcterms:modified xsi:type="dcterms:W3CDTF">2024-07-04T17:50:05Z</dcterms:modified>
</cp:coreProperties>
</file>